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3"/>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95" r:id="rId46"/>
    <p:sldId id="488" r:id="rId47"/>
    <p:sldId id="489" r:id="rId48"/>
    <p:sldId id="490" r:id="rId49"/>
    <p:sldId id="491" r:id="rId50"/>
    <p:sldId id="492" r:id="rId51"/>
    <p:sldId id="493" r:id="rId52"/>
  </p:sldIdLst>
  <p:sldSz cx="12192000" cy="6858000"/>
  <p:notesSz cx="6858000" cy="9144000"/>
  <p:custDataLst>
    <p:tags r:id="rId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9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0482" autoAdjust="0"/>
  </p:normalViewPr>
  <p:slideViewPr>
    <p:cSldViewPr snapToGrid="0">
      <p:cViewPr>
        <p:scale>
          <a:sx n="150" d="100"/>
          <a:sy n="150" d="100"/>
        </p:scale>
        <p:origin x="-1440" y="-1566"/>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50.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8.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4.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9.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3.png"/><Relationship Id="rId11" Type="http://schemas.openxmlformats.org/officeDocument/2006/relationships/image" Target="../media/image890.png"/><Relationship Id="rId5" Type="http://schemas.openxmlformats.org/officeDocument/2006/relationships/image" Target="../media/image84.png"/><Relationship Id="rId10" Type="http://schemas.openxmlformats.org/officeDocument/2006/relationships/image" Target="../media/image88.svg"/><Relationship Id="rId4" Type="http://schemas.openxmlformats.org/officeDocument/2006/relationships/image" Target="../media/image1.emf"/><Relationship Id="rId9" Type="http://schemas.openxmlformats.org/officeDocument/2006/relationships/image" Target="../media/image87.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1.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41.xml"/><Relationship Id="rId7" Type="http://schemas.openxmlformats.org/officeDocument/2006/relationships/image" Target="../media/image105.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6.bin"/><Relationship Id="rId9" Type="http://schemas.openxmlformats.org/officeDocument/2006/relationships/image" Target="../media/image105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2782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747381" y="365939"/>
            <a:ext cx="5044419" cy="5483423"/>
            <a:chOff x="2690231" y="196849"/>
            <a:chExt cx="5044419" cy="5483423"/>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96849"/>
              <a:ext cx="5044419" cy="5483423"/>
              <a:chOff x="2690231" y="196849"/>
              <a:chExt cx="5044419" cy="5483423"/>
            </a:xfrm>
          </p:grpSpPr>
          <p:sp>
            <p:nvSpPr>
              <p:cNvPr id="22" name="Rectangle 34">
                <a:extLst>
                  <a:ext uri="{FF2B5EF4-FFF2-40B4-BE49-F238E27FC236}">
                    <a16:creationId xmlns:a16="http://schemas.microsoft.com/office/drawing/2014/main" id="{BCC3C5A0-7C53-53ED-C307-DC03F5BA7D39}"/>
                  </a:ext>
                </a:extLst>
              </p:cNvPr>
              <p:cNvSpPr/>
              <p:nvPr/>
            </p:nvSpPr>
            <p:spPr>
              <a:xfrm>
                <a:off x="2722596" y="196850"/>
                <a:ext cx="5012054" cy="5238851"/>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49"/>
                <a:ext cx="5044419" cy="5483423"/>
                <a:chOff x="2690231" y="196849"/>
                <a:chExt cx="5044419" cy="5483423"/>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49"/>
                  <a:ext cx="5044419" cy="5483423"/>
                  <a:chOff x="2690231" y="196849"/>
                  <a:chExt cx="5044419" cy="5483423"/>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49"/>
                    <a:ext cx="5044419" cy="5483423"/>
                    <a:chOff x="2690231" y="196849"/>
                    <a:chExt cx="5044419" cy="5483423"/>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49"/>
                      <a:ext cx="5044419" cy="5483423"/>
                      <a:chOff x="2690231" y="196849"/>
                      <a:chExt cx="5044419" cy="5483423"/>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49"/>
                        <a:ext cx="5044419" cy="5483423"/>
                        <a:chOff x="4445879" y="-158353"/>
                        <a:chExt cx="5044419" cy="5483423"/>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3"/>
                          <a:ext cx="5044419" cy="5483423"/>
                          <a:chOff x="4445879" y="-158353"/>
                          <a:chExt cx="5044419" cy="5483423"/>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3"/>
                            <a:ext cx="5044419" cy="5483423"/>
                            <a:chOff x="4618443" y="-5197"/>
                            <a:chExt cx="5044419" cy="5483423"/>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7"/>
                              <a:ext cx="3980214" cy="4026613"/>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5044419" cy="5451333"/>
                              <a:chOff x="4618443" y="26893"/>
                              <a:chExt cx="5044419" cy="5451333"/>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5044419" cy="5451333"/>
                                <a:chOff x="4618443" y="26893"/>
                                <a:chExt cx="5044419" cy="5451333"/>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5044419" cy="5451333"/>
                                  <a:chOff x="4618443" y="26893"/>
                                  <a:chExt cx="5044419" cy="5451333"/>
                                </a:xfrm>
                              </p:grpSpPr>
                              <mc:AlternateContent xmlns:mc="http://schemas.openxmlformats.org/markup-compatibility/2006">
                                <mc:Choice xmlns:a14="http://schemas.microsoft.com/office/drawing/2010/main"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a:t>
                                        </a:r>
                                      </a:p>
                                      <a:p>
                                        <a:pPr defTabSz="1088333">
                                          <a:buClrTx/>
                                        </a:pPr>
                                        <a:endParaRPr lang="en-US" sz="1200" kern="1200" dirty="0">
                                          <a:solidFill>
                                            <a:prstClr val="white"/>
                                          </a:solidFill>
                                          <a:latin typeface="Daimler CS" pitchFamily="2" charset="0"/>
                                        </a:endParaRPr>
                                      </a:p>
                                    </p:txBody>
                                  </p:sp>
                                </mc:Choice>
                                <mc:Fallback>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5044419" cy="5451333"/>
                                    <a:chOff x="3729626" y="597024"/>
                                    <a:chExt cx="5044419" cy="5451333"/>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5044419" cy="5451333"/>
                                      <a:chOff x="4675145" y="777136"/>
                                      <a:chExt cx="5044419" cy="5451333"/>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07510" y="2659787"/>
                                        <a:ext cx="5012054" cy="3568682"/>
                                        <a:chOff x="2817219" y="2703757"/>
                                        <a:chExt cx="5012054" cy="3568682"/>
                                      </a:xfrm>
                                    </p:grpSpPr>
                                    <mc:AlternateContent xmlns:mc="http://schemas.openxmlformats.org/markup-compatibility/2006">
                                      <mc:Choice xmlns:a14="http://schemas.microsoft.com/office/drawing/2010/main" Requires="a14">
                                        <p:sp>
                                          <p:nvSpPr>
                                            <p:cNvPr id="173" name="Textfeld 172">
                                              <a:extLst>
                                                <a:ext uri="{FF2B5EF4-FFF2-40B4-BE49-F238E27FC236}">
                                                  <a16:creationId xmlns:a16="http://schemas.microsoft.com/office/drawing/2014/main" id="{7DAC3F07-EE5F-5828-472B-38EF64910B6F}"/>
                                                </a:ext>
                                              </a:extLst>
                                            </p:cNvPr>
                                            <p:cNvSpPr txBox="1"/>
                                            <p:nvPr/>
                                          </p:nvSpPr>
                                          <p:spPr>
                                            <a:xfrm>
                                              <a:off x="2817219" y="4815630"/>
                                              <a:ext cx="5012054" cy="1456809"/>
                                            </a:xfrm>
                                            <a:prstGeom prst="rect">
                                              <a:avLst/>
                                            </a:prstGeom>
                                            <a:solidFill>
                                              <a:schemeClr val="bg1"/>
                                            </a:solidFill>
                                            <a:ln w="6350">
                                              <a:solidFill>
                                                <a:schemeClr val="tx1"/>
                                              </a:solidFill>
                                            </a:ln>
                                          </p:spPr>
                                          <p:txBody>
                                            <a:bodyPr wrap="square" rtlCol="0">
                                              <a:spAutoFit/>
                                            </a:bodyPr>
                                            <a:lstStyle/>
                                            <a:p>
                                              <a14:m>
                                                <m:oMath xmlns:m="http://schemas.openxmlformats.org/officeDocument/2006/math">
                                                  <m:sSub>
                                                    <m:sSubPr>
                                                      <m:ctrlPr>
                                                        <a:rPr lang="de-DE" sz="1200" i="1" smtClean="0">
                                                          <a:latin typeface="Cambria Math" panose="02040503050406030204" pitchFamily="18" charset="0"/>
                                                        </a:rPr>
                                                      </m:ctrlPr>
                                                    </m:sSubPr>
                                                    <m:e>
                                                      <m:r>
                                                        <m:rPr>
                                                          <m:sty m:val="p"/>
                                                        </m:rPr>
                                                        <a:rPr lang="de-DE" sz="1200" b="0" i="0" smtClean="0">
                                                          <a:latin typeface="Cambria Math" panose="02040503050406030204" pitchFamily="18" charset="0"/>
                                                        </a:rPr>
                                                        <m:t>Z</m:t>
                                                      </m:r>
                                                    </m:e>
                                                    <m:sub>
                                                      <m:r>
                                                        <m:rPr>
                                                          <m:sty m:val="p"/>
                                                        </m:rPr>
                                                        <a:rPr lang="de-DE" sz="1200" b="0" i="0" smtClean="0">
                                                          <a:latin typeface="Cambria Math" panose="02040503050406030204" pitchFamily="18" charset="0"/>
                                                        </a:rPr>
                                                        <m:t>t</m:t>
                                                      </m:r>
                                                      <m:r>
                                                        <a:rPr lang="de-DE" sz="1200">
                                                          <a:latin typeface="Cambria Math" panose="02040503050406030204" pitchFamily="18" charset="0"/>
                                                        </a:rPr>
                                                        <m:t>,1:</m:t>
                                                      </m:r>
                                                      <m:r>
                                                        <a:rPr lang="de-DE" sz="1200">
                                                          <a:latin typeface="Cambria Math" panose="02040503050406030204" pitchFamily="18" charset="0"/>
                                                        </a:rPr>
                                                        <m:t>𝑚</m:t>
                                                      </m:r>
                                                    </m:sub>
                                                  </m:sSub>
                                                </m:oMath>
                                              </a14:m>
                                              <a:r>
                                                <a:rPr lang="de-DE" sz="1200" b="0" dirty="0"/>
                                                <a:t>	</a:t>
                                              </a:r>
                                              <a:r>
                                                <a:rPr lang="de-DE" sz="1200" dirty="0"/>
                                                <a:t> </a:t>
                                              </a:r>
                                              <a14:m>
                                                <m:oMath xmlns:m="http://schemas.openxmlformats.org/officeDocument/2006/math">
                                                  <m:r>
                                                    <a:rPr lang="de-DE" sz="1200" i="1">
                                                      <a:latin typeface="Cambria Math" panose="02040503050406030204" pitchFamily="18" charset="0"/>
                                                    </a:rPr>
                                                    <m:t>−</m:t>
                                                  </m:r>
                                                  <m:r>
                                                    <a:rPr lang="de-DE" sz="1200" b="0" i="1" smtClean="0">
                                                      <a:latin typeface="Cambria Math" panose="02040503050406030204" pitchFamily="18" charset="0"/>
                                                    </a:rPr>
                                                    <m:t> </m:t>
                                                  </m:r>
                                                  <m:r>
                                                    <a:rPr lang="de-DE" sz="1200" i="1">
                                                      <a:latin typeface="Cambria Math" panose="02040503050406030204" pitchFamily="18" charset="0"/>
                                                    </a:rPr>
                                                    <m:t>𝑆𝑒𝑛𝑠𝑜𝑟</m:t>
                                                  </m:r>
                                                  <m:r>
                                                    <a:rPr lang="de-DE" sz="1200" b="0" i="1" smtClean="0">
                                                      <a:latin typeface="Cambria Math" panose="02040503050406030204" pitchFamily="18" charset="0"/>
                                                    </a:rPr>
                                                    <m:t> </m:t>
                                                  </m:r>
                                                  <m:r>
                                                    <a:rPr lang="de-DE" sz="1200" i="1">
                                                      <a:latin typeface="Cambria Math" panose="02040503050406030204" pitchFamily="18" charset="0"/>
                                                    </a:rPr>
                                                    <m:t>𝑜𝑏𝑗𝑒𝑐𝑡𝑠</m:t>
                                                  </m:r>
                                                  <m:r>
                                                    <a:rPr lang="de-DE" sz="1200" i="1">
                                                      <a:latin typeface="Cambria Math" panose="02040503050406030204" pitchFamily="18" charset="0"/>
                                                    </a:rPr>
                                                    <m:t> 1:</m:t>
                                                  </m:r>
                                                  <m:r>
                                                    <a:rPr lang="de-DE" sz="1200" i="1">
                                                      <a:latin typeface="Cambria Math" panose="02040503050406030204" pitchFamily="18" charset="0"/>
                                                    </a:rPr>
                                                    <m:t>𝑚</m:t>
                                                  </m:r>
                                                  <m:r>
                                                    <a:rPr lang="de-DE" sz="1200" i="1">
                                                      <a:latin typeface="Cambria Math" panose="02040503050406030204" pitchFamily="18" charset="0"/>
                                                    </a:rPr>
                                                    <m:t> </m:t>
                                                  </m:r>
                                                  <m:r>
                                                    <a:rPr lang="de-DE" sz="1200" i="1">
                                                      <a:latin typeface="Cambria Math" panose="02040503050406030204" pitchFamily="18" charset="0"/>
                                                    </a:rPr>
                                                    <m:t>𝑎𝑡</m:t>
                                                  </m:r>
                                                  <m:r>
                                                    <a:rPr lang="de-DE" sz="1200" i="1">
                                                      <a:latin typeface="Cambria Math" panose="02040503050406030204" pitchFamily="18" charset="0"/>
                                                    </a:rPr>
                                                    <m:t> </m:t>
                                                  </m:r>
                                                  <m:r>
                                                    <a:rPr lang="de-DE" sz="1200" i="1">
                                                      <a:latin typeface="Cambria Math" panose="02040503050406030204" pitchFamily="18" charset="0"/>
                                                    </a:rPr>
                                                    <m:t>𝑡𝑖𝑚𝑒𝑠𝑡𝑒𝑝</m:t>
                                                  </m:r>
                                                  <m:r>
                                                    <a:rPr lang="de-DE" sz="1200" i="1">
                                                      <a:latin typeface="Cambria Math" panose="02040503050406030204" pitchFamily="18" charset="0"/>
                                                    </a:rPr>
                                                    <m:t> </m:t>
                                                  </m:r>
                                                  <m:r>
                                                    <a:rPr lang="de-DE" sz="1200" i="1">
                                                      <a:latin typeface="Cambria Math" panose="02040503050406030204" pitchFamily="18" charset="0"/>
                                                    </a:rPr>
                                                    <m:t>𝑡</m:t>
                                                  </m:r>
                                                </m:oMath>
                                              </a14:m>
                                              <a:endParaRPr lang="de-DE" sz="1200" b="0" dirty="0"/>
                                            </a:p>
                                            <a:p>
                                              <a14:m>
                                                <m:oMath xmlns:m="http://schemas.openxmlformats.org/officeDocument/2006/math">
                                                  <m:sSub>
                                                    <m:sSubPr>
                                                      <m:ctrlPr>
                                                        <a:rPr lang="de-DE" sz="1200" i="1" dirty="0" smtClean="0">
                                                          <a:latin typeface="Cambria Math" panose="02040503050406030204" pitchFamily="18" charset="0"/>
                                                        </a:rPr>
                                                      </m:ctrlPr>
                                                    </m:sSubPr>
                                                    <m:e>
                                                      <m:r>
                                                        <a:rPr lang="de-DE" sz="1200" i="1" dirty="0">
                                                          <a:latin typeface="Cambria Math" panose="02040503050406030204" pitchFamily="18" charset="0"/>
                                                        </a:rPr>
                                                        <m:t>𝑋</m:t>
                                                      </m:r>
                                                    </m:e>
                                                    <m:sub>
                                                      <m:r>
                                                        <a:rPr lang="de-DE" sz="1200" b="0" i="1" dirty="0" smtClean="0">
                                                          <a:latin typeface="Cambria Math" panose="02040503050406030204" pitchFamily="18" charset="0"/>
                                                        </a:rPr>
                                                        <m:t>𝑡</m:t>
                                                      </m:r>
                                                      <m:r>
                                                        <a:rPr lang="de-DE" sz="1200" i="1" dirty="0">
                                                          <a:latin typeface="Cambria Math" panose="02040503050406030204" pitchFamily="18" charset="0"/>
                                                        </a:rPr>
                                                        <m:t>,1:</m:t>
                                                      </m:r>
                                                      <m:r>
                                                        <a:rPr lang="de-DE" sz="1200" b="0" i="1" dirty="0" smtClean="0">
                                                          <a:latin typeface="Cambria Math" panose="02040503050406030204" pitchFamily="18" charset="0"/>
                                                        </a:rPr>
                                                        <m:t>𝑛</m:t>
                                                      </m:r>
                                                      <m:r>
                                                        <a:rPr lang="de-DE" sz="1200" b="0" i="1" dirty="0" smtClean="0">
                                                          <a:latin typeface="Cambria Math" panose="02040503050406030204" pitchFamily="18" charset="0"/>
                                                        </a:rPr>
                                                        <m:t> </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i="1" dirty="0">
                                                      <a:latin typeface="Cambria Math" panose="02040503050406030204" pitchFamily="18" charset="0"/>
                                                    </a:rPr>
                                                    <m:t>𝑃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14:m>
                                                <m:oMath xmlns:m="http://schemas.openxmlformats.org/officeDocument/2006/math">
                                                  <m:sSub>
                                                    <m:sSubPr>
                                                      <m:ctrlPr>
                                                        <a:rPr lang="de-DE" sz="1200" i="1" dirty="0" smtClean="0">
                                                          <a:latin typeface="Cambria Math" panose="02040503050406030204" pitchFamily="18" charset="0"/>
                                                        </a:rPr>
                                                      </m:ctrlPr>
                                                    </m:sSubPr>
                                                    <m:e>
                                                      <m:r>
                                                        <a:rPr lang="de-DE" sz="1200" b="0" i="1" dirty="0" smtClean="0">
                                                          <a:latin typeface="Cambria Math" panose="02040503050406030204" pitchFamily="18" charset="0"/>
                                                        </a:rPr>
                                                        <m:t>𝐴</m:t>
                                                      </m:r>
                                                    </m:e>
                                                    <m:sub>
                                                      <m:r>
                                                        <a:rPr lang="de-DE" sz="1200" b="0" i="1" dirty="0" smtClean="0">
                                                          <a:latin typeface="Cambria Math" panose="02040503050406030204" pitchFamily="18" charset="0"/>
                                                        </a:rPr>
                                                        <m:t>𝑡</m:t>
                                                      </m:r>
                                                      <m:r>
                                                        <a:rPr lang="de-DE" sz="1200" b="0" i="1" dirty="0" smtClean="0">
                                                          <a:latin typeface="Cambria Math" panose="02040503050406030204" pitchFamily="18" charset="0"/>
                                                        </a:rPr>
                                                        <m:t>,1:</m:t>
                                                      </m:r>
                                                      <m:r>
                                                        <a:rPr lang="de-DE" sz="1200" b="0" i="1" dirty="0" smtClean="0">
                                                          <a:latin typeface="Cambria Math" panose="02040503050406030204" pitchFamily="18" charset="0"/>
                                                        </a:rPr>
                                                        <m:t>𝑚</m:t>
                                                      </m:r>
                                                    </m:sub>
                                                  </m:sSub>
                                                </m:oMath>
                                              </a14:m>
                                              <a:r>
                                                <a:rPr lang="de-DE" sz="1200" b="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m:t>
                                                  </m:r>
                                                  <m:r>
                                                    <a:rPr lang="de-DE" sz="1200" b="0" i="1" dirty="0" smtClean="0">
                                                      <a:latin typeface="Cambria Math" panose="02040503050406030204" pitchFamily="18" charset="0"/>
                                                    </a:rPr>
                                                    <m:t> </m:t>
                                                  </m:r>
                                                  <m:r>
                                                    <m:rPr>
                                                      <m:nor/>
                                                    </m:rPr>
                                                    <a:rPr lang="en-US" sz="1200" i="1" dirty="0">
                                                      <a:latin typeface="Cambria Math" panose="02040503050406030204" pitchFamily="18" charset="0"/>
                                                    </a:rPr>
                                                    <m:t>Assignment</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of</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sensor</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object</m:t>
                                                  </m:r>
                                                  <m:r>
                                                    <m:rPr>
                                                      <m:nor/>
                                                    </m:rPr>
                                                    <a:rPr lang="en-US" sz="1200" i="1" dirty="0">
                                                      <a:latin typeface="Cambria Math" panose="02040503050406030204" pitchFamily="18" charset="0"/>
                                                    </a:rPr>
                                                    <m:t> 1:</m:t>
                                                  </m:r>
                                                  <m:r>
                                                    <m:rPr>
                                                      <m:nor/>
                                                    </m:rPr>
                                                    <a:rPr lang="en-US" sz="1200" i="1" dirty="0">
                                                      <a:latin typeface="Cambria Math" panose="02040503050406030204" pitchFamily="18" charset="0"/>
                                                    </a:rPr>
                                                    <m:t>m</m:t>
                                                  </m:r>
                                                  <m:r>
                                                    <m:rPr>
                                                      <m:nor/>
                                                    </m:rPr>
                                                    <a:rPr lang="de-DE" sz="1200" b="0" i="1" dirty="0" smtClean="0">
                                                      <a:latin typeface="Cambria Math" panose="02040503050406030204" pitchFamily="18" charset="0"/>
                                                    </a:rPr>
                                                    <m:t> </m:t>
                                                  </m:r>
                                                  <m:r>
                                                    <m:rPr>
                                                      <m:nor/>
                                                    </m:rPr>
                                                    <a:rPr lang="de-DE" sz="1200" b="0" i="1" dirty="0" smtClean="0">
                                                      <a:latin typeface="Cambria Math" panose="02040503050406030204" pitchFamily="18" charset="0"/>
                                                    </a:rPr>
                                                    <m:t>to</m:t>
                                                  </m:r>
                                                </m:oMath>
                                              </a14:m>
                                              <a:endParaRPr lang="de-DE" sz="1200" b="0" i="1" dirty="0">
                                                <a:latin typeface="Cambria Math" panose="02040503050406030204" pitchFamily="18" charset="0"/>
                                              </a:endParaRPr>
                                            </a:p>
                                            <a:p>
                                              <a:r>
                                                <a:rPr lang="de-DE" sz="1200" dirty="0"/>
                                                <a:t>	</a:t>
                                              </a:r>
                                              <a:r>
                                                <a:rPr lang="en-US" sz="1200" dirty="0"/>
                                                <a:t> </a:t>
                                              </a:r>
                                              <a14:m>
                                                <m:oMath xmlns:m="http://schemas.openxmlformats.org/officeDocument/2006/math">
                                                  <m:r>
                                                    <a:rPr lang="de-DE" sz="1200" b="0" i="0" dirty="0" smtClean="0">
                                                      <a:latin typeface="Cambria Math" panose="02040503050406030204" pitchFamily="18" charset="0"/>
                                                    </a:rPr>
                                                    <m:t>    </m:t>
                                                  </m:r>
                                                  <m:r>
                                                    <a:rPr lang="de-DE" sz="1200" i="1" dirty="0">
                                                      <a:latin typeface="Cambria Math" panose="02040503050406030204" pitchFamily="18" charset="0"/>
                                                    </a:rPr>
                                                    <m:t>𝑁𝑒𝑡𝑤𝑜𝑟𝑘</m:t>
                                                  </m:r>
                                                  <m:r>
                                                    <a:rPr lang="de-DE" sz="1200" i="1" dirty="0">
                                                      <a:latin typeface="Cambria Math" panose="02040503050406030204" pitchFamily="18" charset="0"/>
                                                    </a:rPr>
                                                    <m:t> </m:t>
                                                  </m:r>
                                                  <m:r>
                                                    <a:rPr lang="de-DE" sz="1200" i="1" dirty="0">
                                                      <a:latin typeface="Cambria Math" panose="02040503050406030204" pitchFamily="18" charset="0"/>
                                                    </a:rPr>
                                                    <m:t>𝑃𝑟𝑒𝑑𝑖𝑐𝑡𝑖𝑜𝑛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b="0" i="1" dirty="0" smtClean="0">
                                                      <a:latin typeface="Cambria Math" panose="02040503050406030204" pitchFamily="18" charset="0"/>
                                                    </a:rPr>
                                                    <m:t> </m:t>
                                                  </m:r>
                                                  <m:r>
                                                    <a:rPr lang="de-DE" sz="1200" i="1">
                                                      <a:latin typeface="Cambria Math" panose="02040503050406030204" pitchFamily="18" charset="0"/>
                                                    </a:rPr>
                                                    <m:t>𝑎𝑡</m:t>
                                                  </m:r>
                                                  <m:r>
                                                    <a:rPr lang="de-DE" sz="1200" b="0" i="1" smtClean="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r>
                                                    <a:rPr lang="de-DE" sz="1200" i="1" dirty="0">
                                                      <a:latin typeface="Cambria Math" panose="02040503050406030204" pitchFamily="18" charset="0"/>
                                                    </a:rPr>
                                                    <m:t> </m:t>
                                                  </m:r>
                                                </m:oMath>
                                              </a14:m>
                                              <a:r>
                                                <a:rPr lang="de-DE" sz="1200" dirty="0"/>
                                                <a:t>	</a:t>
                                              </a:r>
                                              <a:endParaRPr lang="en-US" sz="1200" i="1" dirty="0">
                                                <a:latin typeface="Cambria Math" panose="02040503050406030204" pitchFamily="18" charset="0"/>
                                              </a:endParaRPr>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𝑢</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𝑈𝑝𝑑𝑎𝑡𝑒𝑑</m:t>
                                                  </m:r>
                                                  <m:r>
                                                    <a:rPr lang="de-DE" sz="1200" i="1" dirty="0">
                                                      <a:latin typeface="Cambria Math" panose="02040503050406030204" pitchFamily="18" charset="0"/>
                                                    </a:rPr>
                                                    <m:t> </m:t>
                                                  </m:r>
                                                  <m:r>
                                                    <a:rPr lang="de-DE" sz="1200" i="1" dirty="0">
                                                      <a:latin typeface="Cambria Math" panose="02040503050406030204" pitchFamily="18" charset="0"/>
                                                    </a:rPr>
                                                    <m:t>𝑇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dirty="0"/>
                                            </a:p>
                                            <a:p>
                                              <a14:m>
                                                <m:oMath xmlns:m="http://schemas.openxmlformats.org/officeDocument/2006/math">
                                                  <m:sSub>
                                                    <m:sSubPr>
                                                      <m:ctrlPr>
                                                        <a:rPr lang="de-DE" sz="1200" i="1" dirty="0">
                                                          <a:latin typeface="Cambria Math" panose="02040503050406030204" pitchFamily="18" charset="0"/>
                                                        </a:rPr>
                                                      </m:ctrlPr>
                                                    </m:sSubPr>
                                                    <m:e>
                                                      <m:r>
                                                        <a:rPr lang="de-DE" sz="1200" i="1" dirty="0">
                                                          <a:latin typeface="Cambria Math" panose="02040503050406030204" pitchFamily="18" charset="0"/>
                                                        </a:rPr>
                                                        <m:t>𝑇𝑐</m:t>
                                                      </m:r>
                                                    </m:e>
                                                    <m:sub>
                                                      <m:r>
                                                        <a:rPr lang="de-DE" sz="1200" i="1" dirty="0">
                                                          <a:latin typeface="Cambria Math" panose="02040503050406030204" pitchFamily="18" charset="0"/>
                                                        </a:rPr>
                                                        <m:t>𝑡</m:t>
                                                      </m:r>
                                                      <m:r>
                                                        <a:rPr lang="de-DE" sz="1200" i="1" dirty="0">
                                                          <a:latin typeface="Cambria Math" panose="02040503050406030204" pitchFamily="18" charset="0"/>
                                                        </a:rPr>
                                                        <m:t>,1:</m:t>
                                                      </m:r>
                                                      <m:r>
                                                        <a:rPr lang="de-DE" sz="1200" i="1" dirty="0">
                                                          <a:latin typeface="Cambria Math" panose="02040503050406030204" pitchFamily="18" charset="0"/>
                                                        </a:rPr>
                                                        <m:t>𝑛</m:t>
                                                      </m:r>
                                                    </m:sub>
                                                  </m:sSub>
                                                </m:oMath>
                                              </a14:m>
                                              <a:r>
                                                <a:rPr lang="en-US" sz="1200" i="1" dirty="0">
                                                  <a:latin typeface="Cambria Math" panose="02040503050406030204" pitchFamily="18" charset="0"/>
                                                </a:rPr>
                                                <a:t>	</a:t>
                                              </a:r>
                                              <a:r>
                                                <a:rPr lang="de-DE" sz="1200" dirty="0"/>
                                                <a:t> </a:t>
                                              </a:r>
                                              <a14:m>
                                                <m:oMath xmlns:m="http://schemas.openxmlformats.org/officeDocument/2006/math">
                                                  <m:r>
                                                    <a:rPr lang="de-DE" sz="1200" i="1" dirty="0">
                                                      <a:latin typeface="Cambria Math" panose="02040503050406030204" pitchFamily="18" charset="0"/>
                                                    </a:rPr>
                                                    <m:t>− </m:t>
                                                  </m:r>
                                                  <m:r>
                                                    <a:rPr lang="de-DE" sz="1200" i="1" dirty="0">
                                                      <a:latin typeface="Cambria Math" panose="02040503050406030204" pitchFamily="18" charset="0"/>
                                                    </a:rPr>
                                                    <m:t>𝐶𝑜𝑛𝑓𝑖𝑟𝑚𝑒𝑑</m:t>
                                                  </m:r>
                                                  <m:r>
                                                    <a:rPr lang="de-DE" sz="1200" i="1" dirty="0">
                                                      <a:latin typeface="Cambria Math" panose="02040503050406030204" pitchFamily="18" charset="0"/>
                                                    </a:rPr>
                                                    <m:t> </m:t>
                                                  </m:r>
                                                  <m:r>
                                                    <a:rPr lang="de-DE" sz="1200" i="1" dirty="0">
                                                      <a:latin typeface="Cambria Math" panose="02040503050406030204" pitchFamily="18" charset="0"/>
                                                    </a:rPr>
                                                    <m:t>𝑇𝑟𝑎𝑐𝑘𝑠</m:t>
                                                  </m:r>
                                                  <m:r>
                                                    <a:rPr lang="de-DE" sz="1200" i="1" dirty="0">
                                                      <a:latin typeface="Cambria Math" panose="02040503050406030204" pitchFamily="18" charset="0"/>
                                                    </a:rPr>
                                                    <m:t> 1:</m:t>
                                                  </m:r>
                                                  <m:r>
                                                    <a:rPr lang="de-DE" sz="1200" i="1" dirty="0">
                                                      <a:latin typeface="Cambria Math" panose="02040503050406030204" pitchFamily="18" charset="0"/>
                                                    </a:rPr>
                                                    <m:t>𝑛</m:t>
                                                  </m:r>
                                                  <m:r>
                                                    <a:rPr lang="de-DE" sz="1200" i="1" dirty="0">
                                                      <a:latin typeface="Cambria Math" panose="02040503050406030204" pitchFamily="18" charset="0"/>
                                                    </a:rPr>
                                                    <m:t> </m:t>
                                                  </m:r>
                                                  <m:r>
                                                    <a:rPr lang="de-DE" sz="1200" i="1" dirty="0">
                                                      <a:latin typeface="Cambria Math" panose="02040503050406030204" pitchFamily="18" charset="0"/>
                                                    </a:rPr>
                                                    <m:t>𝑎𝑡</m:t>
                                                  </m:r>
                                                  <m:r>
                                                    <a:rPr lang="de-DE" sz="1200" i="1" dirty="0">
                                                      <a:latin typeface="Cambria Math" panose="02040503050406030204" pitchFamily="18" charset="0"/>
                                                    </a:rPr>
                                                    <m:t> </m:t>
                                                  </m:r>
                                                  <m:r>
                                                    <a:rPr lang="de-DE" sz="1200" i="1" dirty="0">
                                                      <a:latin typeface="Cambria Math" panose="02040503050406030204" pitchFamily="18" charset="0"/>
                                                    </a:rPr>
                                                    <m:t>𝑡𝑖𝑚𝑒𝑠𝑡𝑒𝑝</m:t>
                                                  </m:r>
                                                  <m:r>
                                                    <a:rPr lang="de-DE" sz="1200" i="1" dirty="0">
                                                      <a:latin typeface="Cambria Math" panose="02040503050406030204" pitchFamily="18" charset="0"/>
                                                    </a:rPr>
                                                    <m:t> </m:t>
                                                  </m:r>
                                                  <m:r>
                                                    <a:rPr lang="de-DE" sz="1200" i="1" dirty="0">
                                                      <a:latin typeface="Cambria Math" panose="02040503050406030204" pitchFamily="18" charset="0"/>
                                                    </a:rPr>
                                                    <m:t>𝑡</m:t>
                                                  </m:r>
                                                </m:oMath>
                                              </a14:m>
                                              <a:endParaRPr lang="de-DE" sz="1200"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sz="1200" b="0" i="1" dirty="0" smtClean="0">
                                                        <a:latin typeface="Cambria Math" panose="02040503050406030204" pitchFamily="18" charset="0"/>
                                                      </a:rPr>
                                                      <m:t>𝑛</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Hidden</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state</m:t>
                                                    </m:r>
                                                    <m:r>
                                                      <m:rPr>
                                                        <m:nor/>
                                                      </m:rPr>
                                                      <a:rPr lang="de-DE" sz="1200" b="0" i="1" dirty="0" smtClean="0">
                                                        <a:latin typeface="Cambria Math" panose="02040503050406030204" pitchFamily="18" charset="0"/>
                                                      </a:rPr>
                                                      <m:t> </m:t>
                                                    </m:r>
                                                    <m:r>
                                                      <m:rPr>
                                                        <m:nor/>
                                                      </m:rPr>
                                                      <a:rPr lang="en-US" sz="1200" i="1" dirty="0">
                                                        <a:latin typeface="Cambria Math" panose="02040503050406030204" pitchFamily="18" charset="0"/>
                                                      </a:rPr>
                                                      <m:t>vectors</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for</m:t>
                                                    </m:r>
                                                    <m:r>
                                                      <m:rPr>
                                                        <m:nor/>
                                                      </m:rPr>
                                                      <a:rPr lang="en-US" sz="1200" i="1" dirty="0">
                                                        <a:latin typeface="Cambria Math" panose="02040503050406030204" pitchFamily="18" charset="0"/>
                                                      </a:rPr>
                                                      <m:t>  </m:t>
                                                    </m:r>
                                                    <m:r>
                                                      <a:rPr lang="de-DE" sz="1200" i="1" dirty="0">
                                                        <a:latin typeface="Cambria Math" panose="02040503050406030204" pitchFamily="18" charset="0"/>
                                                      </a:rPr>
                                                      <m:t>𝑛</m:t>
                                                    </m:r>
                                                    <m:r>
                                                      <a:rPr lang="de-DE" sz="1200" i="1" dirty="0">
                                                        <a:latin typeface="Cambria Math" panose="02040503050406030204" pitchFamily="18" charset="0"/>
                                                      </a:rPr>
                                                      <m:t> </m:t>
                                                    </m:r>
                                                    <m:r>
                                                      <m:rPr>
                                                        <m:nor/>
                                                      </m:rPr>
                                                      <a:rPr lang="en-US" sz="1200" i="1" dirty="0">
                                                        <a:latin typeface="Cambria Math" panose="02040503050406030204" pitchFamily="18" charset="0"/>
                                                      </a:rPr>
                                                      <m:t>confirmed</m:t>
                                                    </m:r>
                                                    <m:r>
                                                      <m:rPr>
                                                        <m:nor/>
                                                      </m:rPr>
                                                      <a:rPr lang="en-US" sz="1200" i="1" dirty="0">
                                                        <a:latin typeface="Cambria Math" panose="02040503050406030204" pitchFamily="18" charset="0"/>
                                                      </a:rPr>
                                                      <m:t> </m:t>
                                                    </m:r>
                                                    <m:r>
                                                      <m:rPr>
                                                        <m:nor/>
                                                      </m:rPr>
                                                      <a:rPr lang="en-US" sz="1200" i="1" dirty="0">
                                                        <a:latin typeface="Cambria Math" panose="02040503050406030204" pitchFamily="18" charset="0"/>
                                                      </a:rPr>
                                                      <m:t>tracks</m:t>
                                                    </m:r>
                                                    <m:r>
                                                      <m:rPr>
                                                        <m:nor/>
                                                      </m:rPr>
                                                      <a:rPr lang="de-DE" sz="1200" b="0" i="1" dirty="0" smtClean="0">
                                                        <a:latin typeface="Cambria Math" panose="02040503050406030204" pitchFamily="18" charset="0"/>
                                                      </a:rPr>
                                                      <m:t> </m:t>
                                                    </m:r>
                                                  </m:oMath>
                                                </m:oMathPara>
                                              </a14:m>
                                              <a:endParaRPr lang="en-US" sz="1200" i="1" dirty="0">
                                                <a:latin typeface="Cambria Math" panose="02040503050406030204" pitchFamily="18" charset="0"/>
                                              </a:endParaRPr>
                                            </a:p>
                                          </p:txBody>
                                        </p:sp>
                                      </mc:Choice>
                                      <mc:Fallback>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17219" y="4815630"/>
                                              <a:ext cx="5012054" cy="1456809"/>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mc:Choice xmlns:a14="http://schemas.microsoft.com/office/drawing/2010/main"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 state vectors</a:t>
                                              </a:r>
                                            </a:p>
                                          </p:txBody>
                                        </p:sp>
                                      </mc:Choice>
                                      <mc:Fallback>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Association Network</a:t>
                                          </a:r>
                                        </a:p>
                                      </p:txBody>
                                    </p:sp>
                                  </p:grpSp>
                                </p:grpSp>
                                <mc:AlternateContent xmlns:mc="http://schemas.openxmlformats.org/markup-compatibility/2006">
                                  <mc:Choice xmlns:a14="http://schemas.microsoft.com/office/drawing/2010/main" Requires="a14">
                                    <p:sp>
                                      <p:nvSpPr>
                                        <p:cNvPr id="158" name="Textfeld 157">
                                          <a:extLst>
                                            <a:ext uri="{FF2B5EF4-FFF2-40B4-BE49-F238E27FC236}">
                                              <a16:creationId xmlns:a16="http://schemas.microsoft.com/office/drawing/2014/main" id="{1C215A16-D26E-A8A8-24F7-FB974EF1D545}"/>
                                            </a:ext>
                                          </a:extLst>
                                        </p:cNvPr>
                                        <p:cNvSpPr txBox="1"/>
                                        <p:nvPr/>
                                      </p:nvSpPr>
                                      <p:spPr>
                                        <a:xfrm>
                                          <a:off x="7560523" y="70529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560523" y="705296"/>
                                          <a:ext cx="301768" cy="317203"/>
                                        </a:xfrm>
                                        <a:prstGeom prst="rect">
                                          <a:avLst/>
                                        </a:prstGeom>
                                        <a:blipFill>
                                          <a:blip r:embed="rId11"/>
                                          <a:stretch>
                                            <a:fillRect r="-96000"/>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p:cNvCxnSpPr>
                          <p:nvPr/>
                        </p:nvCxnSpPr>
                        <p:spPr>
                          <a:xfrm rot="16200000" flipV="1">
                            <a:off x="752254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2"/>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3"/>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Confirmation</a:t>
                  </a:r>
                  <a:endParaRPr lang="de-DE" sz="16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6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6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2" name="Gruppieren 21">
            <a:extLst>
              <a:ext uri="{FF2B5EF4-FFF2-40B4-BE49-F238E27FC236}">
                <a16:creationId xmlns:a16="http://schemas.microsoft.com/office/drawing/2014/main" id="{1E5560C2-A530-3326-4D9F-CFB94F2E899E}"/>
              </a:ext>
            </a:extLst>
          </p:cNvPr>
          <p:cNvGrpSpPr/>
          <p:nvPr/>
        </p:nvGrpSpPr>
        <p:grpSpPr>
          <a:xfrm>
            <a:off x="6576201" y="2429808"/>
            <a:ext cx="8431728" cy="3278774"/>
            <a:chOff x="3632736" y="-66675"/>
            <a:chExt cx="8431728" cy="3278774"/>
          </a:xfrm>
        </p:grpSpPr>
        <p:sp>
          <p:nvSpPr>
            <p:cNvPr id="23" name="Rechteck 22">
              <a:extLst>
                <a:ext uri="{FF2B5EF4-FFF2-40B4-BE49-F238E27FC236}">
                  <a16:creationId xmlns:a16="http://schemas.microsoft.com/office/drawing/2014/main" id="{23803090-6E2B-4B5B-ABD8-16368C67F634}"/>
                </a:ext>
              </a:extLst>
            </p:cNvPr>
            <p:cNvSpPr/>
            <p:nvPr/>
          </p:nvSpPr>
          <p:spPr>
            <a:xfrm>
              <a:off x="3632736" y="-66675"/>
              <a:ext cx="8431728" cy="327877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24" name="Gruppieren 23">
              <a:extLst>
                <a:ext uri="{FF2B5EF4-FFF2-40B4-BE49-F238E27FC236}">
                  <a16:creationId xmlns:a16="http://schemas.microsoft.com/office/drawing/2014/main" id="{C6CF3F01-943B-E9CA-D43F-0B2B76CDFDEB}"/>
                </a:ext>
              </a:extLst>
            </p:cNvPr>
            <p:cNvGrpSpPr/>
            <p:nvPr/>
          </p:nvGrpSpPr>
          <p:grpSpPr>
            <a:xfrm>
              <a:off x="3632736" y="-13787"/>
              <a:ext cx="8431728" cy="3222778"/>
              <a:chOff x="3651786" y="163024"/>
              <a:chExt cx="8431728" cy="3222778"/>
            </a:xfrm>
          </p:grpSpPr>
          <p:grpSp>
            <p:nvGrpSpPr>
              <p:cNvPr id="25" name="Gruppieren 24">
                <a:extLst>
                  <a:ext uri="{FF2B5EF4-FFF2-40B4-BE49-F238E27FC236}">
                    <a16:creationId xmlns:a16="http://schemas.microsoft.com/office/drawing/2014/main" id="{B94179A2-193E-8D27-1414-AC81E8C1878A}"/>
                  </a:ext>
                </a:extLst>
              </p:cNvPr>
              <p:cNvGrpSpPr/>
              <p:nvPr/>
            </p:nvGrpSpPr>
            <p:grpSpPr>
              <a:xfrm>
                <a:off x="3928785" y="163024"/>
                <a:ext cx="8154729" cy="3222778"/>
                <a:chOff x="1767476" y="1974424"/>
                <a:chExt cx="8154729" cy="3222778"/>
              </a:xfrm>
            </p:grpSpPr>
            <p:grpSp>
              <p:nvGrpSpPr>
                <p:cNvPr id="28" name="Gruppieren 27">
                  <a:extLst>
                    <a:ext uri="{FF2B5EF4-FFF2-40B4-BE49-F238E27FC236}">
                      <a16:creationId xmlns:a16="http://schemas.microsoft.com/office/drawing/2014/main" id="{20D38049-6B44-74BD-3433-2C2B43B73F34}"/>
                    </a:ext>
                  </a:extLst>
                </p:cNvPr>
                <p:cNvGrpSpPr/>
                <p:nvPr/>
              </p:nvGrpSpPr>
              <p:grpSpPr>
                <a:xfrm>
                  <a:off x="1767476" y="2235481"/>
                  <a:ext cx="8154729" cy="2961721"/>
                  <a:chOff x="1767476" y="2235481"/>
                  <a:chExt cx="8154729" cy="2961721"/>
                </a:xfrm>
              </p:grpSpPr>
              <p:pic>
                <p:nvPicPr>
                  <p:cNvPr id="31" name="Grafik 30">
                    <a:extLst>
                      <a:ext uri="{FF2B5EF4-FFF2-40B4-BE49-F238E27FC236}">
                        <a16:creationId xmlns:a16="http://schemas.microsoft.com/office/drawing/2014/main" id="{7D7DF70E-78C4-ABCF-04E4-9618E022B902}"/>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32" name="Grafik 31">
                    <a:extLst>
                      <a:ext uri="{FF2B5EF4-FFF2-40B4-BE49-F238E27FC236}">
                        <a16:creationId xmlns:a16="http://schemas.microsoft.com/office/drawing/2014/main" id="{349A4C6A-A097-0E31-ED1C-F67E5BB9762D}"/>
                      </a:ext>
                    </a:extLst>
                  </p:cNvPr>
                  <p:cNvPicPr>
                    <a:picLocks noChangeAspect="1"/>
                  </p:cNvPicPr>
                  <p:nvPr/>
                </p:nvPicPr>
                <p:blipFill rotWithShape="1">
                  <a:blip r:embed="rId3"/>
                  <a:srcRect l="53470" t="5713" r="7374" b="5427"/>
                  <a:stretch/>
                </p:blipFill>
                <p:spPr>
                  <a:xfrm>
                    <a:off x="5983340" y="2235481"/>
                    <a:ext cx="3938865" cy="2681614"/>
                  </a:xfrm>
                  <a:prstGeom prst="rect">
                    <a:avLst/>
                  </a:prstGeom>
                </p:spPr>
              </p:pic>
              <p:sp>
                <p:nvSpPr>
                  <p:cNvPr id="33" name="Textfeld 32">
                    <a:extLst>
                      <a:ext uri="{FF2B5EF4-FFF2-40B4-BE49-F238E27FC236}">
                        <a16:creationId xmlns:a16="http://schemas.microsoft.com/office/drawing/2014/main" id="{6DD95FBE-2910-A7CE-29F7-44D4F5A0DD95}"/>
                      </a:ext>
                    </a:extLst>
                  </p:cNvPr>
                  <p:cNvSpPr txBox="1"/>
                  <p:nvPr/>
                </p:nvSpPr>
                <p:spPr>
                  <a:xfrm rot="16200000">
                    <a:off x="4601083" y="3381108"/>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34" name="Textfeld 33">
                    <a:extLst>
                      <a:ext uri="{FF2B5EF4-FFF2-40B4-BE49-F238E27FC236}">
                        <a16:creationId xmlns:a16="http://schemas.microsoft.com/office/drawing/2014/main" id="{CEE4CCB9-D183-B1BA-A08E-FE724B072C33}"/>
                      </a:ext>
                    </a:extLst>
                  </p:cNvPr>
                  <p:cNvSpPr txBox="1"/>
                  <p:nvPr/>
                </p:nvSpPr>
                <p:spPr>
                  <a:xfrm>
                    <a:off x="7239812" y="4920203"/>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29" name="Textfeld 28">
                  <a:extLst>
                    <a:ext uri="{FF2B5EF4-FFF2-40B4-BE49-F238E27FC236}">
                      <a16:creationId xmlns:a16="http://schemas.microsoft.com/office/drawing/2014/main" id="{C5F7C899-21BA-49B6-7739-1165138FCBBA}"/>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30" name="Textfeld 29">
                  <a:extLst>
                    <a:ext uri="{FF2B5EF4-FFF2-40B4-BE49-F238E27FC236}">
                      <a16:creationId xmlns:a16="http://schemas.microsoft.com/office/drawing/2014/main" id="{7F424BD5-EF14-49B0-29EA-7F5702B0AED6}"/>
                    </a:ext>
                  </a:extLst>
                </p:cNvPr>
                <p:cNvSpPr txBox="1"/>
                <p:nvPr/>
              </p:nvSpPr>
              <p:spPr>
                <a:xfrm>
                  <a:off x="6352841" y="1974424"/>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26" name="Textfeld 25">
                <a:extLst>
                  <a:ext uri="{FF2B5EF4-FFF2-40B4-BE49-F238E27FC236}">
                    <a16:creationId xmlns:a16="http://schemas.microsoft.com/office/drawing/2014/main" id="{0F7F39F4-C793-5E4B-44D4-C20DC5E1BBB6}"/>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27" name="Textfeld 26">
                <a:extLst>
                  <a:ext uri="{FF2B5EF4-FFF2-40B4-BE49-F238E27FC236}">
                    <a16:creationId xmlns:a16="http://schemas.microsoft.com/office/drawing/2014/main" id="{CAE51BE8-2685-F215-B31F-51E0536CD703}"/>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grpSp>
        <p:nvGrpSpPr>
          <p:cNvPr id="198" name="Gruppieren 197">
            <a:extLst>
              <a:ext uri="{FF2B5EF4-FFF2-40B4-BE49-F238E27FC236}">
                <a16:creationId xmlns:a16="http://schemas.microsoft.com/office/drawing/2014/main" id="{414F6250-4B0B-93E9-3530-0CDC1AF36E53}"/>
              </a:ext>
            </a:extLst>
          </p:cNvPr>
          <p:cNvGrpSpPr/>
          <p:nvPr/>
        </p:nvGrpSpPr>
        <p:grpSpPr>
          <a:xfrm>
            <a:off x="1463952" y="80308"/>
            <a:ext cx="4384398" cy="4741583"/>
            <a:chOff x="1463952" y="80308"/>
            <a:chExt cx="4384398" cy="4741583"/>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80308"/>
              <a:ext cx="4384398" cy="4741583"/>
              <a:chOff x="3464202" y="-66675"/>
              <a:chExt cx="4384398" cy="4741583"/>
            </a:xfrm>
          </p:grpSpPr>
          <p:sp>
            <p:nvSpPr>
              <p:cNvPr id="19" name="Rechteck 18">
                <a:extLst>
                  <a:ext uri="{FF2B5EF4-FFF2-40B4-BE49-F238E27FC236}">
                    <a16:creationId xmlns:a16="http://schemas.microsoft.com/office/drawing/2014/main" id="{EECCDEF0-5E45-804D-745D-F949B80BEC5E}"/>
                  </a:ext>
                </a:extLst>
              </p:cNvPr>
              <p:cNvSpPr/>
              <p:nvPr/>
            </p:nvSpPr>
            <p:spPr>
              <a:xfrm>
                <a:off x="3464202" y="-66675"/>
                <a:ext cx="4384398" cy="474158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64203" y="15389"/>
                <a:ext cx="4384397" cy="4659519"/>
                <a:chOff x="3483253" y="192200"/>
                <a:chExt cx="4384397" cy="4659519"/>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192200"/>
                  <a:ext cx="3938865" cy="4659519"/>
                  <a:chOff x="1767476" y="2003600"/>
                  <a:chExt cx="3938865" cy="4659519"/>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404324"/>
                    <a:chOff x="1767476" y="2258795"/>
                    <a:chExt cx="3938865" cy="4404324"/>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861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0360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5743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099976"/>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535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30753"/>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pic>
        <p:nvPicPr>
          <p:cNvPr id="14" name="Grafik 13">
            <a:extLst>
              <a:ext uri="{FF2B5EF4-FFF2-40B4-BE49-F238E27FC236}">
                <a16:creationId xmlns:a16="http://schemas.microsoft.com/office/drawing/2014/main" id="{CE577464-B0A6-FAA7-E2AE-D41AADA782C0}"/>
              </a:ext>
            </a:extLst>
          </p:cNvPr>
          <p:cNvPicPr>
            <a:picLocks noChangeAspect="1"/>
          </p:cNvPicPr>
          <p:nvPr/>
        </p:nvPicPr>
        <p:blipFill>
          <a:blip r:embed="rId3"/>
          <a:stretch>
            <a:fillRect/>
          </a:stretch>
        </p:blipFill>
        <p:spPr>
          <a:xfrm>
            <a:off x="2497474" y="516525"/>
            <a:ext cx="8340051" cy="5395428"/>
          </a:xfrm>
          <a:prstGeom prst="rect">
            <a:avLst/>
          </a:prstGeom>
        </p:spPr>
      </p:pic>
    </p:spTree>
    <p:extLst>
      <p:ext uri="{BB962C8B-B14F-4D97-AF65-F5344CB8AC3E}">
        <p14:creationId xmlns:p14="http://schemas.microsoft.com/office/powerpoint/2010/main" val="158518416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69661"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D0F085F5-0C17-805C-813F-158BE4DA7C22}"/>
              </a:ext>
            </a:extLst>
          </p:cNvPr>
          <p:cNvGrpSpPr/>
          <p:nvPr/>
        </p:nvGrpSpPr>
        <p:grpSpPr>
          <a:xfrm>
            <a:off x="4478060" y="363266"/>
            <a:ext cx="4033342" cy="5277067"/>
            <a:chOff x="5853855" y="270987"/>
            <a:chExt cx="4033342" cy="5277067"/>
          </a:xfrm>
        </p:grpSpPr>
        <p:grpSp>
          <p:nvGrpSpPr>
            <p:cNvPr id="9" name="Gruppieren 8">
              <a:extLst>
                <a:ext uri="{FF2B5EF4-FFF2-40B4-BE49-F238E27FC236}">
                  <a16:creationId xmlns:a16="http://schemas.microsoft.com/office/drawing/2014/main" id="{C0C19225-490A-98BF-3FDD-6454D5C99509}"/>
                </a:ext>
              </a:extLst>
            </p:cNvPr>
            <p:cNvGrpSpPr/>
            <p:nvPr/>
          </p:nvGrpSpPr>
          <p:grpSpPr>
            <a:xfrm>
              <a:off x="5853855" y="270987"/>
              <a:ext cx="4033342" cy="5277067"/>
              <a:chOff x="5334658" y="240437"/>
              <a:chExt cx="4033342" cy="527706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27706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70674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xmlns="">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58849"/>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4809775"/>
                <a:ext cx="4033339" cy="707729"/>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nvGrpSpPr>
              <p:cNvPr id="7" name="Gruppieren 6">
                <a:extLst>
                  <a:ext uri="{FF2B5EF4-FFF2-40B4-BE49-F238E27FC236}">
                    <a16:creationId xmlns:a16="http://schemas.microsoft.com/office/drawing/2014/main" id="{008C5174-0B15-9766-8C09-E24CAE70EC86}"/>
                  </a:ext>
                </a:extLst>
              </p:cNvPr>
              <p:cNvGrpSpPr/>
              <p:nvPr/>
            </p:nvGrpSpPr>
            <p:grpSpPr>
              <a:xfrm>
                <a:off x="7166464" y="1894922"/>
                <a:ext cx="1478882" cy="998688"/>
                <a:chOff x="7166464" y="1894922"/>
                <a:chExt cx="1478882" cy="998688"/>
              </a:xfrm>
            </p:grpSpPr>
            <p:sp>
              <p:nvSpPr>
                <p:cNvPr id="3" name="Rectangle 21">
                  <a:extLst>
                    <a:ext uri="{FF2B5EF4-FFF2-40B4-BE49-F238E27FC236}">
                      <a16:creationId xmlns:a16="http://schemas.microsoft.com/office/drawing/2014/main" id="{1B1D4817-0F8B-F72B-B0ED-884E83D6A11C}"/>
                    </a:ext>
                  </a:extLst>
                </p:cNvPr>
                <p:cNvSpPr/>
                <p:nvPr/>
              </p:nvSpPr>
              <p:spPr>
                <a:xfrm>
                  <a:off x="7166464" y="1894922"/>
                  <a:ext cx="1315875"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a:t>
                  </a:r>
                </a:p>
              </p:txBody>
            </p:sp>
            <p:sp>
              <p:nvSpPr>
                <p:cNvPr id="5" name="Rectangle 21">
                  <a:extLst>
                    <a:ext uri="{FF2B5EF4-FFF2-40B4-BE49-F238E27FC236}">
                      <a16:creationId xmlns:a16="http://schemas.microsoft.com/office/drawing/2014/main" id="{B397096F-144E-8BB1-90AF-BECD83CEBD28}"/>
                    </a:ext>
                  </a:extLst>
                </p:cNvPr>
                <p:cNvSpPr/>
                <p:nvPr/>
              </p:nvSpPr>
              <p:spPr>
                <a:xfrm>
                  <a:off x="7170906" y="2541432"/>
                  <a:ext cx="1474440" cy="35217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endParaRPr lang="en-US" sz="800" kern="1200" dirty="0">
                    <a:solidFill>
                      <a:schemeClr val="tx1"/>
                    </a:solidFill>
                    <a:latin typeface="Daimler CS" pitchFamily="2" charset="0"/>
                  </a:endParaRPr>
                </a:p>
              </p:txBody>
            </p:sp>
            <p:sp>
              <p:nvSpPr>
                <p:cNvPr id="6" name="Rectangle 21">
                  <a:extLst>
                    <a:ext uri="{FF2B5EF4-FFF2-40B4-BE49-F238E27FC236}">
                      <a16:creationId xmlns:a16="http://schemas.microsoft.com/office/drawing/2014/main" id="{DC121C3C-2D66-653C-8D87-5FFB77680A5C}"/>
                    </a:ext>
                  </a:extLst>
                </p:cNvPr>
                <p:cNvSpPr/>
                <p:nvPr/>
              </p:nvSpPr>
              <p:spPr>
                <a:xfrm>
                  <a:off x="7170908" y="2317783"/>
                  <a:ext cx="1311431"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grpSp>
        </p:grpSp>
        <p:sp>
          <p:nvSpPr>
            <p:cNvPr id="12" name="Rectangle 21">
              <a:extLst>
                <a:ext uri="{FF2B5EF4-FFF2-40B4-BE49-F238E27FC236}">
                  <a16:creationId xmlns:a16="http://schemas.microsoft.com/office/drawing/2014/main" id="{2D4AA489-7782-DC3A-82DE-FEF849693206}"/>
                </a:ext>
              </a:extLst>
            </p:cNvPr>
            <p:cNvSpPr/>
            <p:nvPr/>
          </p:nvSpPr>
          <p:spPr>
            <a:xfrm>
              <a:off x="7683379" y="2862165"/>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3" name="Rectangle 21">
              <a:extLst>
                <a:ext uri="{FF2B5EF4-FFF2-40B4-BE49-F238E27FC236}">
                  <a16:creationId xmlns:a16="http://schemas.microsoft.com/office/drawing/2014/main" id="{C5BDAAB1-4013-4308-AC12-CCE766C84D52}"/>
                </a:ext>
              </a:extLst>
            </p:cNvPr>
            <p:cNvSpPr/>
            <p:nvPr/>
          </p:nvSpPr>
          <p:spPr>
            <a:xfrm>
              <a:off x="7700700" y="4492337"/>
              <a:ext cx="1318158"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Layer</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35</Words>
  <Application>Microsoft Office PowerPoint</Application>
  <PresentationFormat>Breitbild</PresentationFormat>
  <Paragraphs>1325</Paragraphs>
  <Slides>51</Slides>
  <Notes>41</Notes>
  <HiddenSlides>15</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1</vt:i4>
      </vt:variant>
    </vt:vector>
  </HeadingPairs>
  <TitlesOfParts>
    <vt:vector size="62"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22</cp:revision>
  <dcterms:created xsi:type="dcterms:W3CDTF">2022-02-05T01:08:08Z</dcterms:created>
  <dcterms:modified xsi:type="dcterms:W3CDTF">2024-09-21T09: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